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1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9" r:id="rId14"/>
    <p:sldId id="268" r:id="rId15"/>
    <p:sldId id="270" r:id="rId16"/>
    <p:sldId id="272" r:id="rId17"/>
    <p:sldId id="271" r:id="rId18"/>
    <p:sldId id="274" r:id="rId19"/>
    <p:sldId id="273" r:id="rId20"/>
    <p:sldId id="275" r:id="rId21"/>
    <p:sldId id="276" r:id="rId22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129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DF68E2-58F2-4D09-BE8B-E3BD06533059}" type="datetimeFigureOut">
              <a:rPr lang="en-US" smtClean="0"/>
              <a:pPr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E2D6473-DF6D-4702-B328-E0DD40540A4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26F7E3A-B166-407D-9866-32884E7D5B37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217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20EBB0C4-6273-4C6E-B9BD-2EDC30F1CD52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19AB4D41-86C1-4908-B66A-0B50CEB3BF2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E6426E2C-56C1-4E0D-A793-0088A7FDD37E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8C39B41-D8B5-4052-B551-9B5525EAA8B6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4D94136C-8742-45B2-AF27-D93DF72833A9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C9CAD897-D46E-4AD2-BD9B-49DD3E640873}" type="datetimeFigureOut">
              <a:rPr lang="en-US" smtClean="0"/>
              <a:t>9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3101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550949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黑体" panose="02010609060101010101" pitchFamily="49" charset="-122"/>
          <a:ea typeface="黑体" panose="02010609060101010101" pitchFamily="49" charset="-122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emf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3.bin"/><Relationship Id="rId8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SDHCal</a:t>
            </a:r>
            <a:r>
              <a:rPr lang="zh-CN" altLang="en-US" smtClean="0"/>
              <a:t>工作</a:t>
            </a:r>
            <a:r>
              <a:rPr lang="zh-CN" altLang="en-US" dirty="0" smtClean="0"/>
              <a:t>汇报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、洪道金</a:t>
            </a:r>
            <a:endParaRPr lang="en-US" altLang="zh-CN" dirty="0" smtClean="0"/>
          </a:p>
          <a:p>
            <a:r>
              <a:rPr lang="en-US" altLang="zh-CN" dirty="0" smtClean="0"/>
              <a:t>2017/09/1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串扰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效率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endParaRPr lang="en-US" altLang="zh-CN" dirty="0" smtClean="0"/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串扰</a:t>
            </a:r>
            <a:endParaRPr lang="en-US" altLang="zh-CN" dirty="0"/>
          </a:p>
          <a:p>
            <a:pPr lvl="2"/>
            <a:r>
              <a:rPr lang="zh-CN" altLang="en-US" dirty="0"/>
              <a:t>宇宙线击中的</a:t>
            </a:r>
            <a:r>
              <a:rPr lang="en-US" altLang="zh-CN" dirty="0"/>
              <a:t>Pad</a:t>
            </a:r>
            <a:r>
              <a:rPr lang="zh-CN" altLang="en-US" dirty="0"/>
              <a:t>周围</a:t>
            </a:r>
            <a:r>
              <a:rPr lang="en-US" altLang="zh-CN" dirty="0"/>
              <a:t>Pad</a:t>
            </a:r>
            <a:r>
              <a:rPr lang="zh-CN" altLang="en-US" dirty="0"/>
              <a:t>的过阈情况</a:t>
            </a:r>
            <a:endParaRPr lang="en-US" altLang="zh-CN" dirty="0"/>
          </a:p>
          <a:p>
            <a:pPr lvl="2"/>
            <a:r>
              <a:rPr lang="zh-CN" altLang="en-US" dirty="0"/>
              <a:t>对周围</a:t>
            </a:r>
            <a:r>
              <a:rPr lang="en-US" altLang="zh-CN" dirty="0"/>
              <a:t>Pad</a:t>
            </a:r>
            <a:r>
              <a:rPr lang="zh-CN" altLang="en-US" dirty="0"/>
              <a:t>有影响的事例数～</a:t>
            </a:r>
            <a:r>
              <a:rPr lang="en-US" altLang="zh-CN" dirty="0"/>
              <a:t>1.5%</a:t>
            </a:r>
          </a:p>
          <a:p>
            <a:pPr lvl="1"/>
            <a:endParaRPr lang="en-US" altLang="zh-CN" dirty="0"/>
          </a:p>
          <a:p>
            <a:pPr lvl="1"/>
            <a:r>
              <a:rPr lang="zh-CN" altLang="en-US" dirty="0" smtClean="0"/>
              <a:t>通过</a:t>
            </a:r>
            <a:r>
              <a:rPr lang="zh-CN" altLang="en-US" dirty="0"/>
              <a:t>读回数据包和总触发数测量探测效率</a:t>
            </a:r>
            <a:endParaRPr lang="en-US" altLang="zh-CN" dirty="0"/>
          </a:p>
          <a:p>
            <a:pPr lvl="2"/>
            <a:r>
              <a:rPr lang="zh-CN" altLang="en-US" dirty="0"/>
              <a:t>效率：</a:t>
            </a:r>
            <a:r>
              <a:rPr lang="en-US" altLang="zh-CN" dirty="0"/>
              <a:t>10981/13000</a:t>
            </a:r>
            <a:r>
              <a:rPr lang="zh-CN" altLang="en-US" dirty="0"/>
              <a:t>～</a:t>
            </a:r>
            <a:r>
              <a:rPr lang="en-US" altLang="zh-CN" dirty="0"/>
              <a:t>84.5</a:t>
            </a:r>
            <a:r>
              <a:rPr lang="en-US" altLang="zh-CN" dirty="0" smtClean="0"/>
              <a:t>%</a:t>
            </a:r>
          </a:p>
          <a:p>
            <a:pPr lvl="2"/>
            <a:r>
              <a:rPr lang="zh-CN" altLang="en-US" dirty="0" smtClean="0"/>
              <a:t>问题：比预期低</a:t>
            </a:r>
            <a:endParaRPr lang="en-US" altLang="zh-CN" dirty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868" y="1600200"/>
            <a:ext cx="7107982" cy="180743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783105" y="3038301"/>
            <a:ext cx="1374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err="1" smtClean="0"/>
              <a:t>Microroc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200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探测效率测量结果比预期低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可能原因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电子学阈</a:t>
            </a:r>
            <a:r>
              <a:rPr lang="en-US" altLang="zh-CN" dirty="0" smtClean="0"/>
              <a:t>6fC</a:t>
            </a:r>
            <a:r>
              <a:rPr lang="zh-CN" altLang="en-US" dirty="0" smtClean="0"/>
              <a:t>过高？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探测器增益不够？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解决办法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测宇宙线能谱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单个</a:t>
            </a:r>
            <a:r>
              <a:rPr lang="en-US" altLang="zh-CN" dirty="0" smtClean="0">
                <a:sym typeface="Wingdings" panose="05000000000000000000" pitchFamily="2" charset="2"/>
              </a:rPr>
              <a:t>Pad</a:t>
            </a:r>
            <a:r>
              <a:rPr lang="zh-CN" altLang="en-US" dirty="0" smtClean="0">
                <a:sym typeface="Wingdings" panose="05000000000000000000" pitchFamily="2" charset="2"/>
              </a:rPr>
              <a:t>效率太低 </a:t>
            </a:r>
            <a:r>
              <a:rPr lang="en-US" altLang="zh-CN" dirty="0" smtClean="0">
                <a:sym typeface="Wingdings" panose="05000000000000000000" pitchFamily="2" charset="2"/>
              </a:rPr>
              <a:t> </a:t>
            </a:r>
            <a:r>
              <a:rPr lang="zh-CN" altLang="en-US" dirty="0" smtClean="0">
                <a:sym typeface="Wingdings" panose="05000000000000000000" pitchFamily="2" charset="2"/>
              </a:rPr>
              <a:t>把</a:t>
            </a:r>
            <a:r>
              <a:rPr lang="en-US" altLang="zh-CN" dirty="0" smtClean="0">
                <a:sym typeface="Wingdings" panose="05000000000000000000" pitchFamily="2" charset="2"/>
              </a:rPr>
              <a:t>8cm</a:t>
            </a:r>
            <a:r>
              <a:rPr lang="zh-CN" altLang="en-US" dirty="0" smtClean="0">
                <a:sym typeface="Wingdings" panose="05000000000000000000" pitchFamily="2" charset="2"/>
              </a:rPr>
              <a:t>*</a:t>
            </a:r>
            <a:r>
              <a:rPr lang="en-US" altLang="zh-CN" dirty="0" smtClean="0">
                <a:sym typeface="Wingdings" panose="05000000000000000000" pitchFamily="2" charset="2"/>
              </a:rPr>
              <a:t>8cm Pad</a:t>
            </a:r>
            <a:r>
              <a:rPr lang="zh-CN" altLang="en-US" dirty="0" smtClean="0">
                <a:sym typeface="Wingdings" panose="05000000000000000000" pitchFamily="2" charset="2"/>
              </a:rPr>
              <a:t>连起来测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使用单片</a:t>
            </a:r>
            <a:r>
              <a:rPr lang="en-US" altLang="zh-CN" dirty="0" err="1" smtClean="0">
                <a:sym typeface="Wingdings" panose="05000000000000000000" pitchFamily="2" charset="2"/>
              </a:rPr>
              <a:t>Microroc</a:t>
            </a:r>
            <a:r>
              <a:rPr lang="zh-CN" altLang="en-US" dirty="0" smtClean="0">
                <a:sym typeface="Wingdings" panose="05000000000000000000" pitchFamily="2" charset="2"/>
              </a:rPr>
              <a:t>测效率</a:t>
            </a:r>
            <a:r>
              <a:rPr lang="en-US" altLang="zh-CN" dirty="0" smtClean="0">
                <a:sym typeface="Wingdings" panose="05000000000000000000" pitchFamily="2" charset="2"/>
              </a:rPr>
              <a:t>(</a:t>
            </a:r>
            <a:r>
              <a:rPr lang="zh-CN" altLang="en-US" dirty="0" smtClean="0">
                <a:sym typeface="Wingdings" panose="05000000000000000000" pitchFamily="2" charset="2"/>
              </a:rPr>
              <a:t>刻度过</a:t>
            </a:r>
            <a:r>
              <a:rPr lang="en-US" altLang="zh-CN" dirty="0" smtClean="0">
                <a:sym typeface="Wingdings" panose="05000000000000000000" pitchFamily="2" charset="2"/>
              </a:rPr>
              <a:t>)</a:t>
            </a:r>
            <a:r>
              <a:rPr lang="zh-CN" altLang="en-US" dirty="0" smtClean="0">
                <a:sym typeface="Wingdings" panose="05000000000000000000" pitchFamily="2" charset="2"/>
              </a:rPr>
              <a:t>，阈值可以压低一点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lvl="2"/>
            <a:r>
              <a:rPr lang="zh-CN" altLang="en-US" dirty="0" smtClean="0">
                <a:sym typeface="Wingdings" panose="05000000000000000000" pitchFamily="2" charset="2"/>
              </a:rPr>
              <a:t>提高探测器增益再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25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接上</a:t>
            </a:r>
            <a:r>
              <a:rPr lang="en-US" altLang="zh-CN" dirty="0" smtClean="0"/>
              <a:t>64</a:t>
            </a:r>
            <a:r>
              <a:rPr lang="zh-CN" altLang="en-US" dirty="0" smtClean="0"/>
              <a:t>转</a:t>
            </a:r>
            <a:r>
              <a:rPr lang="en-US" altLang="zh-CN" dirty="0" smtClean="0"/>
              <a:t>1</a:t>
            </a:r>
            <a:r>
              <a:rPr lang="zh-CN" altLang="en-US" dirty="0" smtClean="0"/>
              <a:t>连接板噪声大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92" y="155602"/>
            <a:ext cx="1845609" cy="300277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98" y="5782618"/>
            <a:ext cx="1918875" cy="90226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296998" y="3140538"/>
            <a:ext cx="1483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Bottom</a:t>
            </a:r>
            <a:r>
              <a:rPr lang="zh-CN" altLang="en-US" dirty="0" smtClean="0"/>
              <a:t>层</a:t>
            </a:r>
            <a:r>
              <a:rPr lang="en-US" altLang="zh-CN" dirty="0" smtClean="0"/>
              <a:t>PCB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1" t="29378" r="17909" b="29555"/>
          <a:stretch/>
        </p:blipFill>
        <p:spPr>
          <a:xfrm rot="5400000">
            <a:off x="7129966" y="3924585"/>
            <a:ext cx="1879384" cy="1443318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936376" y="4491318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00B0F0"/>
                </a:solidFill>
              </a:rPr>
              <a:t>这里缺噪声的图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532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54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AGET</a:t>
            </a:r>
            <a:r>
              <a:rPr lang="zh-CN" altLang="en-US" dirty="0" smtClean="0"/>
              <a:t>测试板测宇宙线能谱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AGET</a:t>
            </a:r>
          </a:p>
          <a:p>
            <a:pPr lvl="2"/>
            <a:r>
              <a:rPr lang="zh-CN" altLang="en-US" dirty="0" smtClean="0"/>
              <a:t>单片</a:t>
            </a:r>
            <a:r>
              <a:rPr lang="en-US" altLang="zh-CN" dirty="0" smtClean="0"/>
              <a:t>64</a:t>
            </a:r>
            <a:r>
              <a:rPr lang="zh-CN" altLang="en-US" dirty="0" smtClean="0"/>
              <a:t>通道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动态范围</a:t>
            </a:r>
            <a:r>
              <a:rPr lang="en-US" altLang="zh-CN" dirty="0" smtClean="0"/>
              <a:t>120fC, 240fC, 1pC, 10pC</a:t>
            </a:r>
            <a:r>
              <a:rPr lang="zh-CN" altLang="en-US" dirty="0" smtClean="0"/>
              <a:t>可调</a:t>
            </a:r>
            <a:endParaRPr lang="en-US" altLang="zh-CN" dirty="0" smtClean="0"/>
          </a:p>
          <a:p>
            <a:pPr lvl="2"/>
            <a:r>
              <a:rPr lang="zh-CN" altLang="en-US" dirty="0"/>
              <a:t>达</a:t>
            </a:r>
            <a:r>
              <a:rPr lang="zh-CN" altLang="en-US" dirty="0" smtClean="0"/>
              <a:t>峰时间</a:t>
            </a:r>
            <a:r>
              <a:rPr lang="en-US" altLang="zh-CN" dirty="0" smtClean="0"/>
              <a:t>50ns~1μs</a:t>
            </a:r>
          </a:p>
          <a:p>
            <a:pPr lvl="2"/>
            <a:r>
              <a:rPr lang="zh-CN" altLang="en-US" dirty="0" smtClean="0"/>
              <a:t>采样频率</a:t>
            </a:r>
            <a:r>
              <a:rPr lang="en-US" altLang="zh-CN" dirty="0" smtClean="0"/>
              <a:t>1M~100M</a:t>
            </a:r>
          </a:p>
          <a:p>
            <a:pPr lvl="1"/>
            <a:r>
              <a:rPr lang="zh-CN" altLang="en-US" dirty="0" smtClean="0"/>
              <a:t>后端接</a:t>
            </a:r>
            <a:r>
              <a:rPr lang="en-US" altLang="zh-CN" dirty="0" smtClean="0"/>
              <a:t>12bit ADC</a:t>
            </a:r>
          </a:p>
          <a:p>
            <a:pPr lvl="1"/>
            <a:r>
              <a:rPr lang="zh-CN" altLang="en-US" dirty="0"/>
              <a:t>单</a:t>
            </a:r>
            <a:r>
              <a:rPr lang="zh-CN" altLang="en-US" dirty="0" smtClean="0"/>
              <a:t>板有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GET</a:t>
            </a:r>
          </a:p>
          <a:p>
            <a:pPr lvl="1"/>
            <a:r>
              <a:rPr lang="zh-CN" altLang="en-US" dirty="0" smtClean="0"/>
              <a:t>需要设计转接板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195046" y="3693457"/>
            <a:ext cx="3794532" cy="283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7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转接板已经画完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柔性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长</a:t>
            </a:r>
            <a:r>
              <a:rPr lang="en-US" altLang="zh-CN" dirty="0" smtClean="0"/>
              <a:t>20cm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584" y="3487271"/>
            <a:ext cx="6384549" cy="218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16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目前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改</a:t>
            </a:r>
            <a:r>
              <a:rPr lang="zh-CN" altLang="en-US" dirty="0" smtClean="0"/>
              <a:t>板的问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24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改板的问题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阳极板的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模拟部分和数字部分分别供电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增加一层电源层</a:t>
            </a:r>
            <a:endParaRPr lang="en-US" altLang="zh-CN" dirty="0" smtClean="0"/>
          </a:p>
          <a:p>
            <a:r>
              <a:rPr lang="zh-CN" altLang="en-US" dirty="0"/>
              <a:t>层叠</a:t>
            </a:r>
            <a:r>
              <a:rPr lang="zh-CN" altLang="en-US" dirty="0" smtClean="0"/>
              <a:t>结构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0</a:t>
            </a:r>
            <a:r>
              <a:rPr lang="zh-CN" altLang="en-US" smtClean="0"/>
              <a:t>层板，层叠结构两种</a:t>
            </a:r>
            <a:r>
              <a:rPr lang="zh-CN" altLang="en-US" dirty="0" smtClean="0"/>
              <a:t>考虑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8225" y="3930140"/>
            <a:ext cx="2641063" cy="252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1" y="3930140"/>
            <a:ext cx="2641063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3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259627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 U</a:t>
            </a:r>
            <a:r>
              <a:rPr lang="en-US" altLang="zh-CN" dirty="0"/>
              <a:t>p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6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r>
              <a:rPr lang="en-US" altLang="zh-CN" dirty="0"/>
              <a:t>(</a:t>
            </a:r>
            <a:r>
              <a:rPr lang="en-US" altLang="zh-CN" dirty="0" err="1"/>
              <a:t>PowerPulsing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小结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&amp;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问题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48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</a:t>
            </a:r>
            <a:r>
              <a:rPr lang="zh-CN" altLang="en-US" dirty="0"/>
              <a:t>计数比较器输出</a:t>
            </a:r>
            <a:r>
              <a:rPr lang="zh-CN" altLang="en-US" dirty="0" smtClean="0"/>
              <a:t>个数</a:t>
            </a:r>
            <a:r>
              <a:rPr lang="zh-CN" altLang="en-US" dirty="0"/>
              <a:t>和时钟个数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0</a:t>
            </a:fld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2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40644" y="36590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917353" y="3352225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065" y="1910685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958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在没有事例的时候关闭芯片降低功耗</a:t>
            </a:r>
            <a:endParaRPr lang="en-US" altLang="zh-CN" dirty="0" smtClean="0"/>
          </a:p>
          <a:p>
            <a:pPr lvl="1"/>
            <a:r>
              <a:rPr lang="zh-CN" altLang="en-US" dirty="0"/>
              <a:t>对</a:t>
            </a:r>
            <a:r>
              <a:rPr lang="zh-CN" altLang="en-US" dirty="0" smtClean="0"/>
              <a:t>撞占总时间比例足够小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Eg:ILC</a:t>
            </a:r>
            <a:endParaRPr lang="en-US" altLang="zh-CN" dirty="0" smtClean="0"/>
          </a:p>
          <a:p>
            <a:pPr lvl="2"/>
            <a:r>
              <a:rPr lang="zh-CN" altLang="en-US" dirty="0"/>
              <a:t>每</a:t>
            </a:r>
            <a:r>
              <a:rPr lang="zh-CN" altLang="en-US" dirty="0" smtClean="0"/>
              <a:t>隔</a:t>
            </a:r>
            <a:r>
              <a:rPr lang="en-US" altLang="zh-CN" dirty="0" smtClean="0"/>
              <a:t>199ms</a:t>
            </a:r>
            <a:r>
              <a:rPr lang="zh-CN" altLang="en-US" dirty="0" smtClean="0"/>
              <a:t>，有一次持续</a:t>
            </a:r>
            <a:r>
              <a:rPr lang="en-US" altLang="zh-CN" dirty="0" smtClean="0"/>
              <a:t>1ms</a:t>
            </a:r>
            <a:r>
              <a:rPr lang="zh-CN" altLang="en-US" dirty="0" smtClean="0"/>
              <a:t>的束团对撞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考虑</a:t>
            </a:r>
            <a:r>
              <a:rPr lang="en-US" altLang="zh-CN" dirty="0" smtClean="0"/>
              <a:t>AD</a:t>
            </a:r>
            <a:r>
              <a:rPr lang="zh-CN" altLang="en-US" dirty="0" smtClean="0"/>
              <a:t>和数据读出</a:t>
            </a:r>
            <a:r>
              <a:rPr lang="en-US" altLang="zh-CN" dirty="0"/>
              <a:t>5</a:t>
            </a:r>
            <a:r>
              <a:rPr lang="en-US" altLang="zh-CN" dirty="0" smtClean="0"/>
              <a:t>ms</a:t>
            </a:r>
            <a:r>
              <a:rPr lang="zh-CN" altLang="en-US" dirty="0" smtClean="0"/>
              <a:t>内可以完成，芯片工作时间约</a:t>
            </a:r>
            <a:r>
              <a:rPr lang="en-US" altLang="zh-CN" dirty="0"/>
              <a:t>6</a:t>
            </a:r>
            <a:r>
              <a:rPr lang="en-US" altLang="zh-CN" dirty="0" smtClean="0"/>
              <a:t>ms</a:t>
            </a:r>
          </a:p>
          <a:p>
            <a:pPr lvl="2"/>
            <a:r>
              <a:rPr lang="en-US" altLang="zh-CN" dirty="0" smtClean="0"/>
              <a:t>97%</a:t>
            </a:r>
            <a:r>
              <a:rPr lang="zh-CN" altLang="en-US" dirty="0" smtClean="0"/>
              <a:t>时间芯片处于休眠时间</a:t>
            </a:r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2"/>
            <a:endParaRPr lang="en-US" altLang="zh-CN" dirty="0" smtClean="0"/>
          </a:p>
          <a:p>
            <a:pPr lvl="2"/>
            <a:endParaRPr lang="en-US" altLang="zh-CN" dirty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不适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对束流测试有意义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46" y="3646250"/>
            <a:ext cx="8041426" cy="169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的间歇供电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采集框图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没有</a:t>
            </a:r>
            <a:r>
              <a:rPr lang="en-US" altLang="zh-CN" dirty="0" smtClean="0"/>
              <a:t>AD</a:t>
            </a:r>
            <a:r>
              <a:rPr lang="zh-CN" altLang="en-US" dirty="0" smtClean="0"/>
              <a:t>转换时间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每次击中</a:t>
            </a:r>
            <a:r>
              <a:rPr lang="en-US" altLang="zh-CN" dirty="0" smtClean="0"/>
              <a:t>160bit</a:t>
            </a:r>
            <a:r>
              <a:rPr lang="zh-CN" altLang="en-US" dirty="0" smtClean="0"/>
              <a:t>数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5Mbps</a:t>
            </a:r>
            <a:r>
              <a:rPr lang="zh-CN" altLang="en-US" dirty="0" smtClean="0"/>
              <a:t>读出，时间</a:t>
            </a:r>
            <a:r>
              <a:rPr lang="en-US" altLang="zh-CN" dirty="0" smtClean="0"/>
              <a:t>32μs</a:t>
            </a:r>
          </a:p>
          <a:p>
            <a:pPr lvl="1"/>
            <a:r>
              <a:rPr lang="zh-CN" altLang="en-US" dirty="0" smtClean="0"/>
              <a:t>最大存储深度</a:t>
            </a:r>
            <a:r>
              <a:rPr lang="en-US" altLang="zh-CN" dirty="0" smtClean="0"/>
              <a:t>128</a:t>
            </a:r>
            <a:r>
              <a:rPr lang="zh-CN" altLang="en-US" dirty="0" smtClean="0"/>
              <a:t>，最大读出时间</a:t>
            </a:r>
            <a:r>
              <a:rPr lang="en-US" altLang="zh-CN" dirty="0" smtClean="0"/>
              <a:t>4096μs</a:t>
            </a:r>
          </a:p>
          <a:p>
            <a:pPr lvl="1"/>
            <a:r>
              <a:rPr lang="zh-CN" altLang="en-US" dirty="0" smtClean="0"/>
              <a:t>每次断电之后需要</a:t>
            </a:r>
            <a:r>
              <a:rPr lang="en-US" altLang="zh-CN" dirty="0" smtClean="0"/>
              <a:t>1.2μs</a:t>
            </a:r>
            <a:r>
              <a:rPr lang="zh-CN" altLang="en-US" dirty="0" smtClean="0"/>
              <a:t>启动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421" y="4648085"/>
            <a:ext cx="7630876" cy="2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1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261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30" imgW="384" imgH="384" progId="TCLayout.ActiveDocument.1">
                  <p:embed/>
                </p:oleObj>
              </mc:Choice>
              <mc:Fallback>
                <p:oleObj name="think-cell Slide" r:id="rId3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黑体" panose="02010609060101010101" pitchFamily="49" charset="-122"/>
              <a:ea typeface="黑体" panose="02010609060101010101" pitchFamily="49" charset="-122"/>
              <a:sym typeface="黑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功耗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66430"/>
            <a:ext cx="7543801" cy="5509490"/>
          </a:xfrm>
        </p:spPr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各部分占功耗比例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待机功耗</a:t>
            </a:r>
            <a:r>
              <a:rPr lang="en-US" altLang="zh-CN" dirty="0" smtClean="0"/>
              <a:t>3.3mW</a:t>
            </a:r>
          </a:p>
          <a:p>
            <a:pPr lvl="1"/>
            <a:r>
              <a:rPr lang="zh-CN" altLang="en-US" dirty="0"/>
              <a:t>最大</a:t>
            </a:r>
            <a:r>
              <a:rPr lang="zh-CN" altLang="en-US" dirty="0" smtClean="0"/>
              <a:t>功耗</a:t>
            </a:r>
            <a:r>
              <a:rPr lang="en-US" altLang="zh-CN" dirty="0" smtClean="0"/>
              <a:t>242mW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546952"/>
              </p:ext>
            </p:extLst>
          </p:nvPr>
        </p:nvGraphicFramePr>
        <p:xfrm>
          <a:off x="4701167" y="2093913"/>
          <a:ext cx="4316506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941"/>
                <a:gridCol w="1748118"/>
                <a:gridCol w="1156447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Item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onsumption(W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Percent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dirty="0" smtClean="0"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All off</a:t>
                      </a:r>
                      <a:endParaRPr lang="zh-CN" altLang="en-US" sz="1600" b="0" dirty="0"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00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1%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Pre Am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1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6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hap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iscriminat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Widl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4-bit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Da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OTAq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V_b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0-bit DA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LV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0.0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solidFill>
                            <a:srgbClr val="FF0000"/>
                          </a:solidFill>
                          <a:latin typeface="黑体" panose="02010609060101010101" pitchFamily="49" charset="-122"/>
                          <a:ea typeface="黑体" panose="02010609060101010101" pitchFamily="49" charset="-122"/>
                        </a:rPr>
                        <a:t>SUM</a:t>
                      </a:r>
                      <a:endParaRPr lang="zh-CN" altLang="en-US" sz="1800" dirty="0">
                        <a:solidFill>
                          <a:srgbClr val="FF0000"/>
                        </a:solidFill>
                        <a:latin typeface="黑体" panose="02010609060101010101" pitchFamily="49" charset="-122"/>
                        <a:ea typeface="黑体" panose="02010609060101010101" pitchFamily="49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zh-CN" dirty="0" smtClean="0"/>
                        <a:t>0.2422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00%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对象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379528"/>
              </p:ext>
            </p:extLst>
          </p:nvPr>
        </p:nvGraphicFramePr>
        <p:xfrm>
          <a:off x="1066800" y="3657600"/>
          <a:ext cx="3057477" cy="307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图表" r:id="rId32" imgW="3057477" imgH="3076504" progId="MSGraph.Chart.8">
                  <p:embed followColorScheme="full"/>
                </p:oleObj>
              </mc:Choice>
              <mc:Fallback>
                <p:oleObj name="图表" r:id="rId32" imgW="3057477" imgH="307650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066800" y="3657600"/>
                        <a:ext cx="3057477" cy="3076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直接连接符 48"/>
          <p:cNvCxnSpPr/>
          <p:nvPr>
            <p:custDataLst>
              <p:tags r:id="rId5"/>
            </p:custDataLst>
          </p:nvPr>
        </p:nvCxnSpPr>
        <p:spPr bwMode="gray">
          <a:xfrm>
            <a:off x="2189163" y="3365500"/>
            <a:ext cx="95250" cy="43815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>
            <p:custDataLst>
              <p:tags r:id="rId6"/>
            </p:custDataLst>
          </p:nvPr>
        </p:nvCxnSpPr>
        <p:spPr bwMode="gray">
          <a:xfrm flipH="1">
            <a:off x="2403475" y="3452813"/>
            <a:ext cx="6350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7"/>
            </p:custDataLst>
          </p:nvPr>
        </p:nvCxnSpPr>
        <p:spPr bwMode="gray">
          <a:xfrm>
            <a:off x="2138363" y="3484563"/>
            <a:ext cx="87313" cy="333375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>
            <p:custDataLst>
              <p:tags r:id="rId8"/>
            </p:custDataLst>
          </p:nvPr>
        </p:nvCxnSpPr>
        <p:spPr bwMode="gray">
          <a:xfrm>
            <a:off x="2403475" y="3452813"/>
            <a:ext cx="0" cy="33020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82763" y="33655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A53D6C-3434-4673-AD51-BC374C4C2026}" type="datetime'''''''''''''''''''V''''''_bg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V_bg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03325" y="53721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3015FD-40E4-4403-86B1-2783C2A811B1}" type="datetime'''1''''''''''''''''''''2''''''''''''''''''''''''''''''''''''%'">
              <a:rPr lang="zh-CN" altLang="en-US" sz="1400">
                <a:solidFill>
                  <a:schemeClr val="bg1"/>
                </a:solidFill>
              </a:rPr>
              <a:pPr/>
              <a:t>1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838" y="5443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3173F8-8FE2-44DA-8221-5EE9F990CAC0}" type="datetime'''''''''''''''''''S''''''h''''''''a''pe''''''''''''r'''''''''">
              <a:rPr lang="zh-CN" altLang="en-US" sz="1400"/>
              <a:pPr/>
              <a:t>Shape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00288" y="4297363"/>
            <a:ext cx="228600" cy="212725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8B683F-5B01-4A9B-AA88-FD8E810EA443}" type="datetime'''1''''''''''''%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70025" y="3152775"/>
            <a:ext cx="889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DA3C19-89D2-4E3C-B81B-67C5775D1F83}" type="datetime'''''''''1''0-''''''''''''b''i''''''''t ''D''''A''''''C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0600" y="5664200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AD0EEB-3DE4-4390-902C-62E5B0EF4560}" type="datetime'''''''6''''''''''''''''5''''''''''''''''''''''''''''''%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38263" y="4491038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D0258-1B60-44D0-B3BC-59099F124764}" type="datetime'''''''''''''''''1''''''''''''''''''''1''''''''%'''''''''''''">
              <a:rPr lang="zh-CN" altLang="en-US" sz="1400">
                <a:solidFill>
                  <a:schemeClr val="bg1"/>
                </a:solidFill>
              </a:rPr>
              <a:pPr/>
              <a:t>1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11600" y="5824538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588D93-7404-4CD4-A1C0-161ADA8A1441}" type="datetime'''P''''re''''''''''''A''''''m''''''''p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PreAmp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0650" y="4322763"/>
            <a:ext cx="1155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48D9DD-160A-4EA7-94DB-EAC4D936173D}" type="datetime'D''''''i''sc''''ri''''''''mi''''''''n''a''to''''''''''r'''''">
              <a:rPr lang="zh-CN" altLang="en-US" sz="1400"/>
              <a:pPr/>
              <a:t>Discriminato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9613" y="4003675"/>
            <a:ext cx="800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86014F-5E1D-440A-BDFD-CCA43F844450}" type="datetime'''4''''-''bit'''''''' ''''''''''D''''''''''a''''c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-bit Dac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28775" y="41354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B7531-CD10-45B9-A384-0EA65E0AFC2C}" type="datetime'''''''''''''''0''''''%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31975" y="4052888"/>
            <a:ext cx="228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867C72-DB31-4F75-91BD-AD3973AC739A}" type="datetime'''''''''5''''''''''''''''''''%'''''''''''''''''''''''''''''">
              <a:rPr lang="zh-CN" altLang="en-US" sz="1400"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406525" y="37909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FF39A9-0B97-43E5-8E6E-9B955FB1F6A4}" type="datetime'''O''''''''''''''TA''q'''''''''''''''''''''''''''">
              <a:rPr lang="zh-CN" altLang="en-US" sz="1400">
                <a:sym typeface="黑体" panose="02010609060101010101" pitchFamily="49" charset="-122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OTAq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08213" y="4084638"/>
            <a:ext cx="2286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71494A-ED16-4481-B2F0-CEDD0A748DBD}" type="datetime'''''''''0''''''%''''''''''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25700" y="4021138"/>
            <a:ext cx="228600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038C04-12B0-4643-853B-7CD979F19A1D}" type="datetime'''''''''''''''''''''''''''''''''''1%''''''''''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54275" y="3559175"/>
            <a:ext cx="622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62C7D-C14B-4515-9415-451781592827}" type="datetime'''''''A''l''''l'' ''''''''''''o''''f''''''f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ll off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09825" y="334645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5BDD6A-420B-4933-B1C7-484D15770FF3}" type="datetime'''''''''''''''''LV''D''''''''''''''''''S'''''''''">
              <a:rPr lang="zh-CN" altLang="en-US" sz="1400">
                <a:sym typeface="黑体" panose="02010609060101010101" pitchFamily="49" charset="-122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VDS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306638" y="3808413"/>
            <a:ext cx="228600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94659A-A888-4102-9171-3DD2534A9820}" type="datetime'''''''''''''''''''''''1''%'''''">
              <a:rPr lang="zh-CN" altLang="en-US" sz="1400">
                <a:solidFill>
                  <a:schemeClr val="bg1"/>
                </a:solidFill>
                <a:sym typeface="黑体" panose="02010609060101010101" pitchFamily="49" charset="-122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77975" y="357822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54661E-96AB-45EA-B4DB-2ABDD69E14A2}" type="datetime'''W''''''id''l''''''''''''''a''''''''''''''''''''r'''''''''''">
              <a:rPr lang="zh-CN" altLang="en-US" sz="1400"/>
              <a:pPr/>
              <a:t>Widlar</a:t>
            </a:fld>
            <a:endParaRPr lang="zh-CN" altLang="en-US" sz="1400" dirty="0">
              <a:sym typeface="黑体" panose="02010609060101010101" pitchFamily="49" charset="-122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70100" y="3871913"/>
            <a:ext cx="228600" cy="212725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4F3FD8-D750-4F7E-A5D3-FCE005AFCD1E}" type="datetime'''''2''%'''''''''''''''''''''''''''''''''''''''''''''">
              <a:rPr lang="zh-CN" altLang="en-US" sz="1400">
                <a:solidFill>
                  <a:schemeClr val="bg1"/>
                </a:solidFill>
              </a:rPr>
              <a:pPr/>
              <a:t>2%</a:t>
            </a:fld>
            <a:endParaRPr lang="zh-CN" altLang="en-US" sz="1400" dirty="0">
              <a:solidFill>
                <a:schemeClr val="bg1"/>
              </a:solidFill>
              <a:sym typeface="黑体" panose="02010609060101010101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635452" y="2820473"/>
            <a:ext cx="4433617" cy="11832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816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功耗考虑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原理样机</a:t>
            </a:r>
            <a:r>
              <a:rPr lang="zh-CN" altLang="en-US" dirty="0" smtClean="0"/>
              <a:t>功耗</a:t>
            </a:r>
            <a:endParaRPr lang="en-US" altLang="zh-CN" dirty="0" smtClean="0"/>
          </a:p>
          <a:p>
            <a:pPr lvl="1"/>
            <a:r>
              <a:rPr lang="zh-CN" altLang="en-US" dirty="0"/>
              <a:t>每</a:t>
            </a:r>
            <a:r>
              <a:rPr lang="zh-CN" altLang="en-US" dirty="0" smtClean="0"/>
              <a:t>层</a:t>
            </a:r>
            <a:r>
              <a:rPr lang="en-US" altLang="zh-CN" dirty="0" smtClean="0"/>
              <a:t>100cm*100cm</a:t>
            </a:r>
            <a:r>
              <a:rPr lang="zh-CN" altLang="en-US" dirty="0" smtClean="0"/>
              <a:t>，共需</a:t>
            </a:r>
            <a:r>
              <a:rPr lang="en-US" altLang="zh-CN" dirty="0" smtClean="0"/>
              <a:t>156</a:t>
            </a:r>
            <a:r>
              <a:rPr lang="zh-CN" altLang="en-US" dirty="0" smtClean="0"/>
              <a:t>片</a:t>
            </a:r>
            <a:r>
              <a:rPr lang="en-US" altLang="zh-CN" dirty="0" smtClean="0"/>
              <a:t>ASIC</a:t>
            </a:r>
          </a:p>
          <a:p>
            <a:pPr lvl="1"/>
            <a:r>
              <a:rPr lang="zh-CN" altLang="en-US" dirty="0" smtClean="0"/>
              <a:t>全部开启，每层：</a:t>
            </a:r>
            <a:r>
              <a:rPr lang="en-US" altLang="zh-CN" dirty="0" smtClean="0"/>
              <a:t>156</a:t>
            </a:r>
            <a:r>
              <a:rPr lang="zh-CN" altLang="en-US" dirty="0" smtClean="0"/>
              <a:t>*</a:t>
            </a:r>
            <a:r>
              <a:rPr lang="en-US" altLang="zh-CN" dirty="0" smtClean="0"/>
              <a:t>0.24222W = 37W</a:t>
            </a:r>
          </a:p>
          <a:p>
            <a:pPr lvl="1"/>
            <a:r>
              <a:rPr lang="zh-CN" altLang="en-US" dirty="0" smtClean="0"/>
              <a:t>全部关闭，每层：</a:t>
            </a:r>
            <a:r>
              <a:rPr lang="en-US" altLang="zh-CN" dirty="0" smtClean="0"/>
              <a:t>156*0.0033W = 0.515W</a:t>
            </a:r>
          </a:p>
          <a:p>
            <a:pPr lvl="1"/>
            <a:r>
              <a:rPr lang="zh-CN" altLang="en-US" dirty="0" smtClean="0"/>
              <a:t>在没有束流的时候关闭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束流到来前打开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308" y="4847716"/>
            <a:ext cx="7247101" cy="191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82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间歇供电模式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en-US" altLang="zh-CN" dirty="0" err="1">
                <a:solidFill>
                  <a:schemeClr val="bg1">
                    <a:lumMod val="75000"/>
                  </a:schemeClr>
                </a:solidFill>
              </a:rPr>
              <a:t>PowerPulsing</a:t>
            </a:r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  <a:p>
            <a:r>
              <a:rPr lang="zh-CN" altLang="en-US" dirty="0" smtClean="0"/>
              <a:t>测试小结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计划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改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的问题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84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测得噪声</a:t>
            </a:r>
            <a:r>
              <a:rPr lang="en-US" altLang="zh-CN" dirty="0" smtClean="0"/>
              <a:t>RMS</a:t>
            </a:r>
            <a:r>
              <a:rPr lang="zh-CN" altLang="en-US" dirty="0" smtClean="0"/>
              <a:t>：</a:t>
            </a:r>
            <a:r>
              <a:rPr lang="en-US" altLang="zh-CN" dirty="0" smtClean="0"/>
              <a:t>0.35fC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2479188" y="2854648"/>
            <a:ext cx="4231341" cy="3600000"/>
            <a:chOff x="5345654" y="1799773"/>
            <a:chExt cx="4231341" cy="3600000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9" r="7098"/>
            <a:stretch/>
          </p:blipFill>
          <p:spPr>
            <a:xfrm>
              <a:off x="5345654" y="1799773"/>
              <a:ext cx="4231341" cy="3600000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6145900" y="2474720"/>
              <a:ext cx="263084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不接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25fC</a:t>
              </a:r>
            </a:p>
            <a:p>
              <a:r>
                <a:rPr lang="zh-CN" altLang="en-US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接上探测器噪声</a:t>
              </a:r>
              <a:r>
                <a:rPr lang="en-US" altLang="zh-CN" b="1" dirty="0">
                  <a:latin typeface="黑体" panose="02010609060101010101" pitchFamily="49" charset="-122"/>
                  <a:ea typeface="黑体" panose="02010609060101010101" pitchFamily="49" charset="-122"/>
                </a:rPr>
                <a:t>~0.35fC</a:t>
              </a:r>
              <a:endParaRPr lang="zh-CN" altLang="en-US" b="1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958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小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均匀性</a:t>
            </a:r>
            <a:endParaRPr lang="en-US" altLang="zh-CN" dirty="0"/>
          </a:p>
          <a:p>
            <a:pPr lvl="1"/>
            <a:r>
              <a:rPr lang="zh-CN" altLang="en-US" dirty="0" smtClean="0"/>
              <a:t>测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峰位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822959" y="3722375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7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563" y="3229740"/>
                <a:ext cx="1621341" cy="1166730"/>
              </a:xfrm>
              <a:prstGeom prst="rect">
                <a:avLst/>
              </a:prstGeom>
              <a:blipFill rotWithShape="0">
                <a:blip r:embed="rId3"/>
                <a:stretch>
                  <a:fillRect l="-3383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4" y="3256646"/>
            <a:ext cx="3986162" cy="298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93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shtzXQRaPUP.UJXrK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yBm_lS16oCrXEKRfj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Ru_0eoRBar2k6z_JXN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Bk66XTHuD4AygyIEq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76mZjT9eRMprSlV24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IzK_NQfCWCKmwk0z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MuVmxmSXmQp9waAQe8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D4PR4TpyI_gT7qwWz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L47.5wT7CqHy6sEyRn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g.nlERnaxKYXZW.J2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9hZn8QEWm2HzdN6UU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9aaA8JTdm6POeJFpqW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5hvWYyQ2G6.g6GB.l0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cKFVFRg2EI4e0dv1p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a4ZA7TSy8I.Ozhwy9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l6.SgQTqia7Gb6Fwt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ZQm5AT.KPKPyGOZYo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p_8JtSIqsv6ZfHtGr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zmV.yQaC_a3bN6d5F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WwH5lnRAqvPWxw.L58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C3YjmORLuTnGXdMZ9Y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DlYiVRUmMubbH60ke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p6j93TQOY38t2kdtj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qGRZ6SAWfrtJ_hk5L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SJTElTGqkN2nxBqn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oXPpiCTLOUtMlUPCrk5g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75626D3-247F-4C2B-A435-41C817C9CBD2}" vid="{A6A2EF81-4F16-423B-B813-7FB7ABAACDC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146</TotalTime>
  <Words>632</Words>
  <Application>Microsoft Office PowerPoint</Application>
  <PresentationFormat>全屏显示(4:3)</PresentationFormat>
  <Paragraphs>191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黑体</vt:lpstr>
      <vt:lpstr>宋体</vt:lpstr>
      <vt:lpstr>Calibri</vt:lpstr>
      <vt:lpstr>Calibri Light</vt:lpstr>
      <vt:lpstr>Cambria Math</vt:lpstr>
      <vt:lpstr>Times New Roman</vt:lpstr>
      <vt:lpstr>Wingdings</vt:lpstr>
      <vt:lpstr>回顾</vt:lpstr>
      <vt:lpstr>think-cell Slide</vt:lpstr>
      <vt:lpstr>图表</vt:lpstr>
      <vt:lpstr>SDHCal工作汇报</vt:lpstr>
      <vt:lpstr>目录</vt:lpstr>
      <vt:lpstr>间歇供电模式</vt:lpstr>
      <vt:lpstr>Microroc的间歇供电模式</vt:lpstr>
      <vt:lpstr>Microroc功耗</vt:lpstr>
      <vt:lpstr>功耗考虑</vt:lpstr>
      <vt:lpstr>目录</vt:lpstr>
      <vt:lpstr>测试小结</vt:lpstr>
      <vt:lpstr>测试小结</vt:lpstr>
      <vt:lpstr>测试小结</vt:lpstr>
      <vt:lpstr>问题</vt:lpstr>
      <vt:lpstr>问题</vt:lpstr>
      <vt:lpstr>目录</vt:lpstr>
      <vt:lpstr>计划</vt:lpstr>
      <vt:lpstr>计划</vt:lpstr>
      <vt:lpstr>目录</vt:lpstr>
      <vt:lpstr>改板的问题</vt:lpstr>
      <vt:lpstr>PowerPoint 演示文稿</vt:lpstr>
      <vt:lpstr>Back Up</vt:lpstr>
      <vt:lpstr>芯片测试</vt:lpstr>
      <vt:lpstr>S曲线测试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HCAL工作汇报</dc:title>
  <dc:creator>Wang Yu</dc:creator>
  <cp:lastModifiedBy>王宇</cp:lastModifiedBy>
  <cp:revision>19</cp:revision>
  <dcterms:created xsi:type="dcterms:W3CDTF">2017-09-12T07:53:13Z</dcterms:created>
  <dcterms:modified xsi:type="dcterms:W3CDTF">2017-09-12T13:27:09Z</dcterms:modified>
</cp:coreProperties>
</file>